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5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6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5A5A5A"/>
    <a:srgbClr val="767676"/>
    <a:srgbClr val="B7B7B7"/>
    <a:srgbClr val="DCDCDC"/>
    <a:srgbClr val="8D8D8D"/>
    <a:srgbClr val="C60018"/>
    <a:srgbClr val="E5E5E5"/>
    <a:srgbClr val="BDBD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14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122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6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8E92499-D9ED-4086-A668-D0FD04E05018}"/>
    <pc:docChg chg="delSld">
      <pc:chgData name="Meyer Raphael (PAR-ES)" userId="79615dfe-ed48-4e74-a40f-4f7b034c1c27" providerId="ADAL" clId="{A8E92499-D9ED-4086-A668-D0FD04E05018}" dt="2022-03-09T16:36:41.793" v="0" actId="47"/>
      <pc:docMkLst>
        <pc:docMk/>
      </pc:docMkLst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2868978950" sldId="416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976233813" sldId="417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407174717" sldId="418"/>
        </pc:sldMkLst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67F8163B-AC75-4C3E-8F00-603476E5AA61}"/>
    <pc:docChg chg="custSel modSld">
      <pc:chgData name="Meyer Raphael (PAR-ES)" userId="79615dfe-ed48-4e74-a40f-4f7b034c1c27" providerId="ADAL" clId="{67F8163B-AC75-4C3E-8F00-603476E5AA61}" dt="2023-03-10T13:44:04.552" v="15"/>
      <pc:docMkLst>
        <pc:docMk/>
      </pc:docMkLst>
      <pc:sldChg chg="modSp mod">
        <pc:chgData name="Meyer Raphael (PAR-ES)" userId="79615dfe-ed48-4e74-a40f-4f7b034c1c27" providerId="ADAL" clId="{67F8163B-AC75-4C3E-8F00-603476E5AA61}" dt="2023-03-10T13:44:04.552" v="15"/>
        <pc:sldMkLst>
          <pc:docMk/>
          <pc:sldMk cId="3865012081" sldId="415"/>
        </pc:sldMkLst>
        <pc:spChg chg="mod">
          <ac:chgData name="Meyer Raphael (PAR-ES)" userId="79615dfe-ed48-4e74-a40f-4f7b034c1c27" providerId="ADAL" clId="{67F8163B-AC75-4C3E-8F00-603476E5AA61}" dt="2023-03-10T13:44:04.552" v="15"/>
          <ac:spMkLst>
            <pc:docMk/>
            <pc:sldMk cId="3865012081" sldId="415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7F8163B-AC75-4C3E-8F00-603476E5AA61}" dt="2023-03-10T13:42:51.165" v="6"/>
          <ac:spMkLst>
            <pc:docMk/>
            <pc:sldMk cId="3865012081" sldId="415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7F8163B-AC75-4C3E-8F00-603476E5AA61}" dt="2023-03-10T13:42:58.129" v="12" actId="20577"/>
          <ac:spMkLst>
            <pc:docMk/>
            <pc:sldMk cId="3865012081" sldId="415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105DCFF-B028-4B19-B633-C7AB10EE03B9}"/>
    <pc:docChg chg="modSld">
      <pc:chgData name="Meyer Raphael (PAR-ES)" userId="79615dfe-ed48-4e74-a40f-4f7b034c1c27" providerId="ADAL" clId="{B105DCFF-B028-4B19-B633-C7AB10EE03B9}" dt="2023-02-24T14:02:08.610" v="3" actId="27918"/>
      <pc:docMkLst>
        <pc:docMk/>
      </pc:docMkLst>
      <pc:sldChg chg="mod">
        <pc:chgData name="Meyer Raphael (PAR-ES)" userId="79615dfe-ed48-4e74-a40f-4f7b034c1c27" providerId="ADAL" clId="{B105DCFF-B028-4B19-B633-C7AB10EE03B9}" dt="2023-02-24T14:02:08.610" v="3" actId="27918"/>
        <pc:sldMkLst>
          <pc:docMk/>
          <pc:sldMk cId="3865012081" sldId="415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9A00C47-D07F-4C0B-9E51-38C98F48B301}"/>
    <pc:docChg chg="undo custSel addSld delSld modSld">
      <pc:chgData name="Meyer Raphael (PAR-ES)" userId="79615dfe-ed48-4e74-a40f-4f7b034c1c27" providerId="ADAL" clId="{49A00C47-D07F-4C0B-9E51-38C98F48B301}" dt="2023-02-27T10:12:58.700" v="143" actId="27918"/>
      <pc:docMkLst>
        <pc:docMk/>
      </pc:docMkLst>
      <pc:sldChg chg="addSp delSp modSp mod">
        <pc:chgData name="Meyer Raphael (PAR-ES)" userId="79615dfe-ed48-4e74-a40f-4f7b034c1c27" providerId="ADAL" clId="{49A00C47-D07F-4C0B-9E51-38C98F48B301}" dt="2023-02-27T10:12:58.700" v="143" actId="27918"/>
        <pc:sldMkLst>
          <pc:docMk/>
          <pc:sldMk cId="3865012081" sldId="415"/>
        </pc:sldMkLst>
        <pc:spChg chg="add del mod">
          <ac:chgData name="Meyer Raphael (PAR-ES)" userId="79615dfe-ed48-4e74-a40f-4f7b034c1c27" providerId="ADAL" clId="{49A00C47-D07F-4C0B-9E51-38C98F48B301}" dt="2023-02-24T14:10:39.745" v="39" actId="478"/>
          <ac:spMkLst>
            <pc:docMk/>
            <pc:sldMk cId="3865012081" sldId="415"/>
            <ac:spMk id="2" creationId="{C65F094E-485C-93D4-FD21-4EC5371D4536}"/>
          </ac:spMkLst>
        </pc:spChg>
        <pc:spChg chg="mod">
          <ac:chgData name="Meyer Raphael (PAR-ES)" userId="79615dfe-ed48-4e74-a40f-4f7b034c1c27" providerId="ADAL" clId="{49A00C47-D07F-4C0B-9E51-38C98F48B301}" dt="2023-02-24T14:09:51.903" v="36" actId="6549"/>
          <ac:spMkLst>
            <pc:docMk/>
            <pc:sldMk cId="3865012081" sldId="415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9A00C47-D07F-4C0B-9E51-38C98F48B301}" dt="2023-02-27T10:09:58.270" v="132" actId="20577"/>
          <ac:spMkLst>
            <pc:docMk/>
            <pc:sldMk cId="3865012081" sldId="415"/>
            <ac:spMk id="11" creationId="{45495507-A500-4876-A7D7-039B7559AD0C}"/>
          </ac:spMkLst>
        </pc:spChg>
        <pc:graphicFrameChg chg="mod">
          <ac:chgData name="Meyer Raphael (PAR-ES)" userId="79615dfe-ed48-4e74-a40f-4f7b034c1c27" providerId="ADAL" clId="{49A00C47-D07F-4C0B-9E51-38C98F48B301}" dt="2023-02-27T10:08:40.816" v="126"/>
          <ac:graphicFrameMkLst>
            <pc:docMk/>
            <pc:sldMk cId="3865012081" sldId="415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49A00C47-D07F-4C0B-9E51-38C98F48B301}" dt="2023-02-24T15:12:36.526" v="117" actId="47"/>
        <pc:sldMkLst>
          <pc:docMk/>
          <pc:sldMk cId="129412210" sldId="416"/>
        </pc:sldMkLst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6C4A0EA-2388-4B74-96B0-FDC2F7AF02B2}"/>
    <pc:docChg chg="custSel addSld delSld modSld sldOrd">
      <pc:chgData name="Meyer Raphael (PAR-ES)" userId="79615dfe-ed48-4e74-a40f-4f7b034c1c27" providerId="ADAL" clId="{66C4A0EA-2388-4B74-96B0-FDC2F7AF02B2}" dt="2022-03-09T16:23:27.109" v="55" actId="27918"/>
      <pc:docMkLst>
        <pc:docMk/>
      </pc:docMkLst>
      <pc:sldChg chg="del">
        <pc:chgData name="Meyer Raphael (PAR-ES)" userId="79615dfe-ed48-4e74-a40f-4f7b034c1c27" providerId="ADAL" clId="{66C4A0EA-2388-4B74-96B0-FDC2F7AF02B2}" dt="2022-03-09T16:15:51.523" v="0" actId="47"/>
        <pc:sldMkLst>
          <pc:docMk/>
          <pc:sldMk cId="1774855510" sldId="414"/>
        </pc:sldMkLst>
      </pc:sldChg>
      <pc:sldChg chg="mod">
        <pc:chgData name="Meyer Raphael (PAR-ES)" userId="79615dfe-ed48-4e74-a40f-4f7b034c1c27" providerId="ADAL" clId="{66C4A0EA-2388-4B74-96B0-FDC2F7AF02B2}" dt="2022-03-09T16:18:35.148" v="24" actId="27918"/>
        <pc:sldMkLst>
          <pc:docMk/>
          <pc:sldMk cId="3865012081" sldId="415"/>
        </pc:sldMkLst>
      </pc:sldChg>
      <pc:sldChg chg="modSp add mod ord">
        <pc:chgData name="Meyer Raphael (PAR-ES)" userId="79615dfe-ed48-4e74-a40f-4f7b034c1c27" providerId="ADAL" clId="{66C4A0EA-2388-4B74-96B0-FDC2F7AF02B2}" dt="2022-03-09T16:18:54.115" v="29"/>
        <pc:sldMkLst>
          <pc:docMk/>
          <pc:sldMk cId="2868978950" sldId="416"/>
        </pc:sldMkLst>
        <pc:spChg chg="mod">
          <ac:chgData name="Meyer Raphael (PAR-ES)" userId="79615dfe-ed48-4e74-a40f-4f7b034c1c27" providerId="ADAL" clId="{66C4A0EA-2388-4B74-96B0-FDC2F7AF02B2}" dt="2022-03-09T16:16:26.111" v="4"/>
          <ac:spMkLst>
            <pc:docMk/>
            <pc:sldMk cId="2868978950" sldId="416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16:51.514" v="5"/>
          <ac:spMkLst>
            <pc:docMk/>
            <pc:sldMk cId="2868978950" sldId="416"/>
            <ac:spMk id="11" creationId="{45495507-A500-4876-A7D7-039B7559AD0C}"/>
          </ac:spMkLst>
        </pc:spChg>
      </pc:sldChg>
      <pc:sldChg chg="modSp add mod">
        <pc:chgData name="Meyer Raphael (PAR-ES)" userId="79615dfe-ed48-4e74-a40f-4f7b034c1c27" providerId="ADAL" clId="{66C4A0EA-2388-4B74-96B0-FDC2F7AF02B2}" dt="2022-03-09T16:21:27.322" v="42" actId="27918"/>
        <pc:sldMkLst>
          <pc:docMk/>
          <pc:sldMk cId="976233813" sldId="417"/>
        </pc:sldMkLst>
        <pc:spChg chg="mod">
          <ac:chgData name="Meyer Raphael (PAR-ES)" userId="79615dfe-ed48-4e74-a40f-4f7b034c1c27" providerId="ADAL" clId="{66C4A0EA-2388-4B74-96B0-FDC2F7AF02B2}" dt="2022-03-09T16:19:41.464" v="30"/>
          <ac:spMkLst>
            <pc:docMk/>
            <pc:sldMk cId="976233813" sldId="417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0:01.271" v="31"/>
          <ac:spMkLst>
            <pc:docMk/>
            <pc:sldMk cId="976233813" sldId="417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1:05.488" v="37" actId="20577"/>
          <ac:spMkLst>
            <pc:docMk/>
            <pc:sldMk cId="976233813" sldId="417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3015967454" sldId="417"/>
        </pc:sldMkLst>
      </pc:sldChg>
      <pc:sldChg chg="modSp add mod">
        <pc:chgData name="Meyer Raphael (PAR-ES)" userId="79615dfe-ed48-4e74-a40f-4f7b034c1c27" providerId="ADAL" clId="{66C4A0EA-2388-4B74-96B0-FDC2F7AF02B2}" dt="2022-03-09T16:23:27.109" v="55" actId="27918"/>
        <pc:sldMkLst>
          <pc:docMk/>
          <pc:sldMk cId="407174717" sldId="418"/>
        </pc:sldMkLst>
        <pc:spChg chg="mod">
          <ac:chgData name="Meyer Raphael (PAR-ES)" userId="79615dfe-ed48-4e74-a40f-4f7b034c1c27" providerId="ADAL" clId="{66C4A0EA-2388-4B74-96B0-FDC2F7AF02B2}" dt="2022-03-09T16:22:17.056" v="43"/>
          <ac:spMkLst>
            <pc:docMk/>
            <pc:sldMk cId="407174717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2:37.624" v="44"/>
          <ac:spMkLst>
            <pc:docMk/>
            <pc:sldMk cId="407174717" sldId="418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2:41.606" v="50" actId="20577"/>
          <ac:spMkLst>
            <pc:docMk/>
            <pc:sldMk cId="407174717" sldId="418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2492649957" sldId="418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Weigel Stefan (PAR-EPS)" userId="fd3b2067-2981-4ad8-bf3a-d2e1004e4fa8" providerId="ADAL" clId="{D5E4F275-2A0F-4BD9-AB3C-C472A8707552}"/>
    <pc:docChg chg="modSld">
      <pc:chgData name="Weigel Stefan (PAR-EPS)" userId="fd3b2067-2981-4ad8-bf3a-d2e1004e4fa8" providerId="ADAL" clId="{D5E4F275-2A0F-4BD9-AB3C-C472A8707552}" dt="2024-04-26T07:25:12.932" v="31" actId="27918"/>
      <pc:docMkLst>
        <pc:docMk/>
      </pc:docMkLst>
      <pc:sldChg chg="modSp mod">
        <pc:chgData name="Weigel Stefan (PAR-EPS)" userId="fd3b2067-2981-4ad8-bf3a-d2e1004e4fa8" providerId="ADAL" clId="{D5E4F275-2A0F-4BD9-AB3C-C472A8707552}" dt="2024-04-26T07:25:12.932" v="31" actId="27918"/>
        <pc:sldMkLst>
          <pc:docMk/>
          <pc:sldMk cId="3865012081" sldId="415"/>
        </pc:sldMkLst>
        <pc:spChg chg="mod">
          <ac:chgData name="Weigel Stefan (PAR-EPS)" userId="fd3b2067-2981-4ad8-bf3a-d2e1004e4fa8" providerId="ADAL" clId="{D5E4F275-2A0F-4BD9-AB3C-C472A8707552}" dt="2024-04-26T07:24:48.837" v="27" actId="1038"/>
          <ac:spMkLst>
            <pc:docMk/>
            <pc:sldMk cId="3865012081" sldId="415"/>
            <ac:spMk id="11" creationId="{45495507-A500-4876-A7D7-039B7559AD0C}"/>
          </ac:spMkLst>
        </pc:spChg>
        <pc:spChg chg="mod">
          <ac:chgData name="Weigel Stefan (PAR-EPS)" userId="fd3b2067-2981-4ad8-bf3a-d2e1004e4fa8" providerId="ADAL" clId="{D5E4F275-2A0F-4BD9-AB3C-C472A8707552}" dt="2024-04-26T07:24:38.984" v="25" actId="1035"/>
          <ac:spMkLst>
            <pc:docMk/>
            <pc:sldMk cId="3865012081" sldId="415"/>
            <ac:spMk id="12" creationId="{1A4657D7-3337-475E-8E67-E8F468A949AF}"/>
          </ac:spMkLst>
        </pc:spChg>
        <pc:graphicFrameChg chg="mod">
          <ac:chgData name="Weigel Stefan (PAR-EPS)" userId="fd3b2067-2981-4ad8-bf3a-d2e1004e4fa8" providerId="ADAL" clId="{D5E4F275-2A0F-4BD9-AB3C-C472A8707552}" dt="2024-04-26T07:24:54.917" v="28"/>
          <ac:graphicFrameMkLst>
            <pc:docMk/>
            <pc:sldMk cId="3865012081" sldId="415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4A59743-142D-4CF8-870C-5D2A831C7023}"/>
    <pc:docChg chg="modSld">
      <pc:chgData name="Meyer Raphael (PAR-ES)" userId="79615dfe-ed48-4e74-a40f-4f7b034c1c27" providerId="ADAL" clId="{74A59743-142D-4CF8-870C-5D2A831C7023}" dt="2022-03-09T16:40:35.701" v="36" actId="1037"/>
      <pc:docMkLst>
        <pc:docMk/>
      </pc:docMkLst>
      <pc:sldChg chg="modSp mod">
        <pc:chgData name="Meyer Raphael (PAR-ES)" userId="79615dfe-ed48-4e74-a40f-4f7b034c1c27" providerId="ADAL" clId="{74A59743-142D-4CF8-870C-5D2A831C7023}" dt="2022-03-09T16:40:35.701" v="36" actId="1037"/>
        <pc:sldMkLst>
          <pc:docMk/>
          <pc:sldMk cId="3865012081" sldId="415"/>
        </pc:sldMkLst>
        <pc:spChg chg="mod">
          <ac:chgData name="Meyer Raphael (PAR-ES)" userId="79615dfe-ed48-4e74-a40f-4f7b034c1c27" providerId="ADAL" clId="{74A59743-142D-4CF8-870C-5D2A831C7023}" dt="2022-03-09T16:40:35.701" v="36" actId="1037"/>
          <ac:spMkLst>
            <pc:docMk/>
            <pc:sldMk cId="3865012081" sldId="415"/>
            <ac:spMk id="11" creationId="{45495507-A500-4876-A7D7-039B7559AD0C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90355E84-F650-41AE-8068-49912F4310D4}"/>
    <pc:docChg chg="modSld">
      <pc:chgData name="Weigel Stefan (PAR-EPS)" userId="fd3b2067-2981-4ad8-bf3a-d2e1004e4fa8" providerId="ADAL" clId="{90355E84-F650-41AE-8068-49912F4310D4}" dt="2025-02-24T11:03:50.055" v="12"/>
      <pc:docMkLst>
        <pc:docMk/>
      </pc:docMkLst>
      <pc:sldChg chg="modSp mod">
        <pc:chgData name="Weigel Stefan (PAR-EPS)" userId="fd3b2067-2981-4ad8-bf3a-d2e1004e4fa8" providerId="ADAL" clId="{90355E84-F650-41AE-8068-49912F4310D4}" dt="2025-02-24T11:03:50.055" v="12"/>
        <pc:sldMkLst>
          <pc:docMk/>
          <pc:sldMk cId="3865012081" sldId="415"/>
        </pc:sldMkLst>
        <pc:spChg chg="mod">
          <ac:chgData name="Weigel Stefan (PAR-EPS)" userId="fd3b2067-2981-4ad8-bf3a-d2e1004e4fa8" providerId="ADAL" clId="{90355E84-F650-41AE-8068-49912F4310D4}" dt="2025-02-24T11:03:50.055" v="12"/>
          <ac:spMkLst>
            <pc:docMk/>
            <pc:sldMk cId="3865012081" sldId="415"/>
            <ac:spMk id="11" creationId="{45495507-A500-4876-A7D7-039B7559AD0C}"/>
          </ac:spMkLst>
        </pc:spChg>
        <pc:graphicFrameChg chg="mod">
          <ac:chgData name="Weigel Stefan (PAR-EPS)" userId="fd3b2067-2981-4ad8-bf3a-d2e1004e4fa8" providerId="ADAL" clId="{90355E84-F650-41AE-8068-49912F4310D4}" dt="2025-02-14T18:20:40.918" v="0"/>
          <ac:graphicFrameMkLst>
            <pc:docMk/>
            <pc:sldMk cId="3865012081" sldId="41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8AF8AF8-3015-4A40-885D-1810E82E92DA}"/>
    <pc:docChg chg="delSld">
      <pc:chgData name="Meyer Raphael (PAR-ES)" userId="79615dfe-ed48-4e74-a40f-4f7b034c1c27" providerId="ADAL" clId="{38AF8AF8-3015-4A40-885D-1810E82E92DA}" dt="2022-03-09T15:47:26.635" v="0" actId="47"/>
      <pc:docMkLst>
        <pc:docMk/>
      </pc:docMkLst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251798312" sldId="416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247BE269-E262-497B-A794-CF645B369F21}"/>
    <pc:docChg chg="custSel modSld">
      <pc:chgData name="Meyer Raphael (PAR-ES)" userId="79615dfe-ed48-4e74-a40f-4f7b034c1c27" providerId="ADAL" clId="{247BE269-E262-497B-A794-CF645B369F21}" dt="2023-03-10T13:34:56.934" v="19" actId="27918"/>
      <pc:docMkLst>
        <pc:docMk/>
      </pc:docMkLst>
      <pc:sldChg chg="modSp mod">
        <pc:chgData name="Meyer Raphael (PAR-ES)" userId="79615dfe-ed48-4e74-a40f-4f7b034c1c27" providerId="ADAL" clId="{247BE269-E262-497B-A794-CF645B369F21}" dt="2023-03-10T13:34:56.934" v="19" actId="27918"/>
        <pc:sldMkLst>
          <pc:docMk/>
          <pc:sldMk cId="3865012081" sldId="415"/>
        </pc:sldMkLst>
        <pc:spChg chg="mod">
          <ac:chgData name="Meyer Raphael (PAR-ES)" userId="79615dfe-ed48-4e74-a40f-4f7b034c1c27" providerId="ADAL" clId="{247BE269-E262-497B-A794-CF645B369F21}" dt="2023-03-10T13:33:46.878" v="10"/>
          <ac:spMkLst>
            <pc:docMk/>
            <pc:sldMk cId="3865012081" sldId="415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247BE269-E262-497B-A794-CF645B369F21}" dt="2023-03-10T13:31:52.425" v="7"/>
          <ac:spMkLst>
            <pc:docMk/>
            <pc:sldMk cId="3865012081" sldId="415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247BE269-E262-497B-A794-CF645B369F21}" dt="2023-03-10T13:33:54.752" v="16" actId="20577"/>
          <ac:spMkLst>
            <pc:docMk/>
            <pc:sldMk cId="3865012081" sldId="415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Weigel Stefan (PAR-EPS)" userId="fd3b2067-2981-4ad8-bf3a-d2e1004e4fa8" providerId="ADAL" clId="{BE300F2E-B45A-4B10-A27E-8E029191EC3E}"/>
    <pc:docChg chg="modSld">
      <pc:chgData name="Weigel Stefan (PAR-EPS)" userId="fd3b2067-2981-4ad8-bf3a-d2e1004e4fa8" providerId="ADAL" clId="{BE300F2E-B45A-4B10-A27E-8E029191EC3E}" dt="2024-02-02T11:33:18.664" v="28" actId="27918"/>
      <pc:docMkLst>
        <pc:docMk/>
      </pc:docMkLst>
      <pc:sldChg chg="mod">
        <pc:chgData name="Weigel Stefan (PAR-EPS)" userId="fd3b2067-2981-4ad8-bf3a-d2e1004e4fa8" providerId="ADAL" clId="{BE300F2E-B45A-4B10-A27E-8E029191EC3E}" dt="2024-02-02T11:33:18.664" v="28" actId="27918"/>
        <pc:sldMkLst>
          <pc:docMk/>
          <pc:sldMk cId="3865012081" sldId="415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11479533727694702"/>
          <c:w val="0.79430876353508262"/>
          <c:h val="0.63614340429563254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data!$C$8</c:f>
              <c:strCache>
                <c:ptCount val="1"/>
                <c:pt idx="0">
                  <c:v>EasyRide</c:v>
                </c:pt>
              </c:strCache>
            </c:strRef>
          </c:tx>
          <c:spPr>
            <a:solidFill>
              <a:schemeClr val="accent4">
                <a:lumMod val="90000"/>
              </a:schemeClr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4.7301999999999997E-2</c:v>
                </c:pt>
                <c:pt idx="5">
                  <c:v>0.80418599999999996</c:v>
                </c:pt>
                <c:pt idx="6">
                  <c:v>3.9528020000000001</c:v>
                </c:pt>
                <c:pt idx="7">
                  <c:v>9.4050329999999995</c:v>
                </c:pt>
                <c:pt idx="8">
                  <c:v>17.491479000000002</c:v>
                </c:pt>
                <c:pt idx="9">
                  <c:v>23.327812000000002</c:v>
                </c:pt>
                <c:pt idx="10">
                  <c:v>31.141587000000001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0"/>
          <c:order val="1"/>
          <c:tx>
            <c:strRef>
              <c:f>data!$D$8</c:f>
              <c:strCache>
                <c:ptCount val="1"/>
                <c:pt idx="0">
                  <c:v>SBB.ch and SBB Mobile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0</c:formatCode>
                <c:ptCount val="11"/>
                <c:pt idx="0">
                  <c:v>13.118081</c:v>
                </c:pt>
                <c:pt idx="1">
                  <c:v>17.974157000000002</c:v>
                </c:pt>
                <c:pt idx="2">
                  <c:v>24.389900000000001</c:v>
                </c:pt>
                <c:pt idx="3">
                  <c:v>32.353721</c:v>
                </c:pt>
                <c:pt idx="4">
                  <c:v>44.220541999999995</c:v>
                </c:pt>
                <c:pt idx="5">
                  <c:v>64.436859999999996</c:v>
                </c:pt>
                <c:pt idx="6">
                  <c:v>51.198005000000002</c:v>
                </c:pt>
                <c:pt idx="7">
                  <c:v>73.108429000000001</c:v>
                </c:pt>
                <c:pt idx="8">
                  <c:v>104.073866</c:v>
                </c:pt>
                <c:pt idx="9">
                  <c:v>126.675342</c:v>
                </c:pt>
                <c:pt idx="10">
                  <c:v>143.516803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2"/>
          <c:tx>
            <c:strRef>
              <c:f>data!$E$8</c:f>
              <c:strCache>
                <c:ptCount val="1"/>
                <c:pt idx="0">
                  <c:v>Ticket machines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0</c:formatCode>
                <c:ptCount val="11"/>
                <c:pt idx="0">
                  <c:v>48.869484999999997</c:v>
                </c:pt>
                <c:pt idx="1">
                  <c:v>47.893855000000002</c:v>
                </c:pt>
                <c:pt idx="2">
                  <c:v>49.305990000000001</c:v>
                </c:pt>
                <c:pt idx="3">
                  <c:v>48.396062999999998</c:v>
                </c:pt>
                <c:pt idx="4">
                  <c:v>46.495206000000003</c:v>
                </c:pt>
                <c:pt idx="5">
                  <c:v>42.206930999999997</c:v>
                </c:pt>
                <c:pt idx="6">
                  <c:v>24.688984000000001</c:v>
                </c:pt>
                <c:pt idx="7">
                  <c:v>24.878795</c:v>
                </c:pt>
                <c:pt idx="8">
                  <c:v>28.877310000000001</c:v>
                </c:pt>
                <c:pt idx="9">
                  <c:v>27.097303</c:v>
                </c:pt>
                <c:pt idx="10">
                  <c:v>24.15661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4"/>
          <c:order val="3"/>
          <c:tx>
            <c:strRef>
              <c:f>data!$F$8</c:f>
              <c:strCache>
                <c:ptCount val="1"/>
                <c:pt idx="0">
                  <c:v>Travel centres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F$9:$F$19</c:f>
              <c:numCache>
                <c:formatCode>0</c:formatCode>
                <c:ptCount val="11"/>
                <c:pt idx="0">
                  <c:v>20.913478999999999</c:v>
                </c:pt>
                <c:pt idx="1">
                  <c:v>19.757598999999999</c:v>
                </c:pt>
                <c:pt idx="2">
                  <c:v>15.980143999999999</c:v>
                </c:pt>
                <c:pt idx="3">
                  <c:v>14.588436</c:v>
                </c:pt>
                <c:pt idx="4">
                  <c:v>12.655569</c:v>
                </c:pt>
                <c:pt idx="5">
                  <c:v>11.47528</c:v>
                </c:pt>
                <c:pt idx="6">
                  <c:v>5.9818119999999997</c:v>
                </c:pt>
                <c:pt idx="7">
                  <c:v>6.406377</c:v>
                </c:pt>
                <c:pt idx="8">
                  <c:v>8.9507290000000008</c:v>
                </c:pt>
                <c:pt idx="9">
                  <c:v>9.2324219999999997</c:v>
                </c:pt>
                <c:pt idx="10">
                  <c:v>8.766420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90-400D-B174-6A57E646E29D}"/>
            </c:ext>
          </c:extLst>
        </c:ser>
        <c:ser>
          <c:idx val="3"/>
          <c:order val="4"/>
          <c:tx>
            <c:strRef>
              <c:f>data!$G$8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G$9:$G$19</c:f>
              <c:numCache>
                <c:formatCode>0</c:formatCode>
                <c:ptCount val="11"/>
                <c:pt idx="0">
                  <c:v>2.1447330000000058</c:v>
                </c:pt>
                <c:pt idx="1">
                  <c:v>1.9853100000000019</c:v>
                </c:pt>
                <c:pt idx="2">
                  <c:v>2.7727089999999954</c:v>
                </c:pt>
                <c:pt idx="3">
                  <c:v>3.5255739999999989</c:v>
                </c:pt>
                <c:pt idx="4">
                  <c:v>3.9583979999999954</c:v>
                </c:pt>
                <c:pt idx="5">
                  <c:v>4.7055430000000058</c:v>
                </c:pt>
                <c:pt idx="6">
                  <c:v>3.9473689999999948</c:v>
                </c:pt>
                <c:pt idx="7">
                  <c:v>4.2629159999999899</c:v>
                </c:pt>
                <c:pt idx="8">
                  <c:v>5.5397880000000299</c:v>
                </c:pt>
                <c:pt idx="9">
                  <c:v>6.5444120000000225</c:v>
                </c:pt>
                <c:pt idx="10">
                  <c:v>7.72724399999998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8F-4D85-A5AC-7762F62740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  <c:extLst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2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25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1216"/>
        <c:crosses val="autoZero"/>
        <c:crossBetween val="between"/>
        <c:majorUnit val="50"/>
      </c:valAx>
    </c:plotArea>
    <c:legend>
      <c:legendPos val="b"/>
      <c:layout>
        <c:manualLayout>
          <c:xMode val="edge"/>
          <c:yMode val="edge"/>
          <c:x val="0.11944452326273002"/>
          <c:y val="0.81846637485729923"/>
          <c:w val="0.60351797837061583"/>
          <c:h val="9.4409791314303007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501</cdr:x>
      <cdr:y>0.0331</cdr:y>
    </cdr:from>
    <cdr:to>
      <cdr:x>0.16678</cdr:x>
      <cdr:y>0.07923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51404" y="173623"/>
          <a:ext cx="794224" cy="2420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DE" sz="1100" dirty="0">
              <a:solidFill>
                <a:schemeClr val="tx2"/>
              </a:solidFill>
            </a:rPr>
            <a:t>Tickets m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884336707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en-US" dirty="0"/>
              <a:t>Ticket sales by sales channel.</a:t>
            </a:r>
            <a:endParaRPr lang="de-CH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2316036" y="6011247"/>
            <a:ext cx="8016328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Other: automatic travelcard renewal, partner sales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nd SBB Contact Center.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52907" y="570945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65012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3947C76B-6302-41E6-87D0-C36A3BC6D6A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Ticket sales by sales channel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cket sales by sales channel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5-02-24T13:0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